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6" r:id="rId1"/>
  </p:sldMasterIdLst>
  <p:notesMasterIdLst>
    <p:notesMasterId r:id="rId18"/>
  </p:notesMasterIdLst>
  <p:sldIdLst>
    <p:sldId id="256" r:id="rId2"/>
    <p:sldId id="257" r:id="rId3"/>
    <p:sldId id="260" r:id="rId4"/>
    <p:sldId id="267" r:id="rId5"/>
    <p:sldId id="258" r:id="rId6"/>
    <p:sldId id="259" r:id="rId7"/>
    <p:sldId id="261" r:id="rId8"/>
    <p:sldId id="273" r:id="rId9"/>
    <p:sldId id="263" r:id="rId10"/>
    <p:sldId id="272" r:id="rId11"/>
    <p:sldId id="269" r:id="rId12"/>
    <p:sldId id="268" r:id="rId13"/>
    <p:sldId id="264" r:id="rId14"/>
    <p:sldId id="270" r:id="rId15"/>
    <p:sldId id="266" r:id="rId16"/>
    <p:sldId id="271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5" autoAdjust="0"/>
    <p:restoredTop sz="92832" autoAdjust="0"/>
  </p:normalViewPr>
  <p:slideViewPr>
    <p:cSldViewPr snapToGrid="0">
      <p:cViewPr>
        <p:scale>
          <a:sx n="100" d="100"/>
          <a:sy n="100" d="100"/>
        </p:scale>
        <p:origin x="30" y="21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FA27B2-BBB3-4B33-9ACD-933479D4D4C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A58907CF-1CCB-4E69-A7B8-4FBB07A76378}">
      <dgm:prSet phldrT="[Text]"/>
      <dgm:spPr/>
      <dgm:t>
        <a:bodyPr/>
        <a:lstStyle/>
        <a:p>
          <a:r>
            <a:rPr lang="de-CH" dirty="0"/>
            <a:t>Primary</a:t>
          </a:r>
        </a:p>
      </dgm:t>
    </dgm:pt>
    <dgm:pt modelId="{CE5B1454-2A9D-406C-9D8F-27A51883FF01}" type="parTrans" cxnId="{FCCBA0A7-7205-4F7C-B957-08F04E71C9A9}">
      <dgm:prSet/>
      <dgm:spPr/>
      <dgm:t>
        <a:bodyPr/>
        <a:lstStyle/>
        <a:p>
          <a:endParaRPr lang="de-CH"/>
        </a:p>
      </dgm:t>
    </dgm:pt>
    <dgm:pt modelId="{0BF09C18-EEA3-47D3-BD20-D0ED6EC67C15}" type="sibTrans" cxnId="{FCCBA0A7-7205-4F7C-B957-08F04E71C9A9}">
      <dgm:prSet/>
      <dgm:spPr/>
      <dgm:t>
        <a:bodyPr/>
        <a:lstStyle/>
        <a:p>
          <a:endParaRPr lang="de-CH"/>
        </a:p>
      </dgm:t>
    </dgm:pt>
    <dgm:pt modelId="{F95E3049-CEA3-4730-B4EF-FC9A59DB5739}">
      <dgm:prSet phldrT="[Text]"/>
      <dgm:spPr/>
      <dgm:t>
        <a:bodyPr/>
        <a:lstStyle/>
        <a:p>
          <a:r>
            <a:rPr lang="de-CH" dirty="0" err="1"/>
            <a:t>Secondary</a:t>
          </a:r>
          <a:endParaRPr lang="de-CH" dirty="0"/>
        </a:p>
      </dgm:t>
    </dgm:pt>
    <dgm:pt modelId="{A4A1A96A-DDAF-41A0-9B6B-7F917D2DFD56}" type="parTrans" cxnId="{69536191-63CA-4772-83CE-ECB9E9EA874A}">
      <dgm:prSet/>
      <dgm:spPr/>
      <dgm:t>
        <a:bodyPr/>
        <a:lstStyle/>
        <a:p>
          <a:endParaRPr lang="de-CH"/>
        </a:p>
      </dgm:t>
    </dgm:pt>
    <dgm:pt modelId="{8709B4AA-E5C3-4324-8108-36D28377399E}" type="sibTrans" cxnId="{69536191-63CA-4772-83CE-ECB9E9EA874A}">
      <dgm:prSet/>
      <dgm:spPr/>
      <dgm:t>
        <a:bodyPr/>
        <a:lstStyle/>
        <a:p>
          <a:endParaRPr lang="de-CH"/>
        </a:p>
      </dgm:t>
    </dgm:pt>
    <dgm:pt modelId="{7E6D2C17-0705-4DFF-AFE4-38915EFC8B40}">
      <dgm:prSet phldrT="[Text]"/>
      <dgm:spPr/>
      <dgm:t>
        <a:bodyPr/>
        <a:lstStyle/>
        <a:p>
          <a:r>
            <a:rPr lang="de-CH" dirty="0" err="1"/>
            <a:t>Tertiary</a:t>
          </a:r>
          <a:endParaRPr lang="de-CH" dirty="0"/>
        </a:p>
      </dgm:t>
    </dgm:pt>
    <dgm:pt modelId="{783D4CD8-615C-438D-9BC9-19358E1CA1B6}" type="parTrans" cxnId="{8807CE13-2244-480D-A20A-7B6C1CC91494}">
      <dgm:prSet/>
      <dgm:spPr/>
      <dgm:t>
        <a:bodyPr/>
        <a:lstStyle/>
        <a:p>
          <a:endParaRPr lang="de-CH"/>
        </a:p>
      </dgm:t>
    </dgm:pt>
    <dgm:pt modelId="{5FAD2DC4-43EF-4982-95FF-CEF17B3F42FD}" type="sibTrans" cxnId="{8807CE13-2244-480D-A20A-7B6C1CC91494}">
      <dgm:prSet/>
      <dgm:spPr/>
      <dgm:t>
        <a:bodyPr/>
        <a:lstStyle/>
        <a:p>
          <a:endParaRPr lang="de-CH"/>
        </a:p>
      </dgm:t>
    </dgm:pt>
    <dgm:pt modelId="{DBC583C6-FE30-44D4-97C2-9E5455C38373}" type="pres">
      <dgm:prSet presAssocID="{9DFA27B2-BBB3-4B33-9ACD-933479D4D4CE}" presName="Name0" presStyleCnt="0">
        <dgm:presLayoutVars>
          <dgm:dir/>
          <dgm:animLvl val="lvl"/>
          <dgm:resizeHandles val="exact"/>
        </dgm:presLayoutVars>
      </dgm:prSet>
      <dgm:spPr/>
    </dgm:pt>
    <dgm:pt modelId="{8FEE6A8A-EB54-4B86-89F5-DE1F0FDF5040}" type="pres">
      <dgm:prSet presAssocID="{A58907CF-1CCB-4E69-A7B8-4FBB07A76378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1539C8A9-21FC-467B-BBA1-74B31877602A}" type="pres">
      <dgm:prSet presAssocID="{0BF09C18-EEA3-47D3-BD20-D0ED6EC67C15}" presName="parTxOnlySpace" presStyleCnt="0"/>
      <dgm:spPr/>
    </dgm:pt>
    <dgm:pt modelId="{04D24E5C-769E-4CDA-936C-5B3B8C4E3B07}" type="pres">
      <dgm:prSet presAssocID="{F95E3049-CEA3-4730-B4EF-FC9A59DB573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28E95D08-4654-4B3B-B7BB-FC658E298113}" type="pres">
      <dgm:prSet presAssocID="{8709B4AA-E5C3-4324-8108-36D28377399E}" presName="parTxOnlySpace" presStyleCnt="0"/>
      <dgm:spPr/>
    </dgm:pt>
    <dgm:pt modelId="{BEDC0078-49D9-41F5-8DAD-1A78833BAADA}" type="pres">
      <dgm:prSet presAssocID="{7E6D2C17-0705-4DFF-AFE4-38915EFC8B40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8807CE13-2244-480D-A20A-7B6C1CC91494}" srcId="{9DFA27B2-BBB3-4B33-9ACD-933479D4D4CE}" destId="{7E6D2C17-0705-4DFF-AFE4-38915EFC8B40}" srcOrd="2" destOrd="0" parTransId="{783D4CD8-615C-438D-9BC9-19358E1CA1B6}" sibTransId="{5FAD2DC4-43EF-4982-95FF-CEF17B3F42FD}"/>
    <dgm:cxn modelId="{B2B41251-72E4-4EE9-B05B-7BD899158D48}" type="presOf" srcId="{A58907CF-1CCB-4E69-A7B8-4FBB07A76378}" destId="{8FEE6A8A-EB54-4B86-89F5-DE1F0FDF5040}" srcOrd="0" destOrd="0" presId="urn:microsoft.com/office/officeart/2005/8/layout/chevron1"/>
    <dgm:cxn modelId="{AD402F7B-22CB-494E-8C9C-F39D21B22541}" type="presOf" srcId="{7E6D2C17-0705-4DFF-AFE4-38915EFC8B40}" destId="{BEDC0078-49D9-41F5-8DAD-1A78833BAADA}" srcOrd="0" destOrd="0" presId="urn:microsoft.com/office/officeart/2005/8/layout/chevron1"/>
    <dgm:cxn modelId="{69536191-63CA-4772-83CE-ECB9E9EA874A}" srcId="{9DFA27B2-BBB3-4B33-9ACD-933479D4D4CE}" destId="{F95E3049-CEA3-4730-B4EF-FC9A59DB5739}" srcOrd="1" destOrd="0" parTransId="{A4A1A96A-DDAF-41A0-9B6B-7F917D2DFD56}" sibTransId="{8709B4AA-E5C3-4324-8108-36D28377399E}"/>
    <dgm:cxn modelId="{FCCBA0A7-7205-4F7C-B957-08F04E71C9A9}" srcId="{9DFA27B2-BBB3-4B33-9ACD-933479D4D4CE}" destId="{A58907CF-1CCB-4E69-A7B8-4FBB07A76378}" srcOrd="0" destOrd="0" parTransId="{CE5B1454-2A9D-406C-9D8F-27A51883FF01}" sibTransId="{0BF09C18-EEA3-47D3-BD20-D0ED6EC67C15}"/>
    <dgm:cxn modelId="{35D87AC0-18DD-4610-98C9-77B8E0175889}" type="presOf" srcId="{F95E3049-CEA3-4730-B4EF-FC9A59DB5739}" destId="{04D24E5C-769E-4CDA-936C-5B3B8C4E3B07}" srcOrd="0" destOrd="0" presId="urn:microsoft.com/office/officeart/2005/8/layout/chevron1"/>
    <dgm:cxn modelId="{7B6DB5DC-359C-4A38-96FF-11E6329D89AB}" type="presOf" srcId="{9DFA27B2-BBB3-4B33-9ACD-933479D4D4CE}" destId="{DBC583C6-FE30-44D4-97C2-9E5455C38373}" srcOrd="0" destOrd="0" presId="urn:microsoft.com/office/officeart/2005/8/layout/chevron1"/>
    <dgm:cxn modelId="{40E844EE-F794-4C02-B00A-E2406A45A918}" type="presParOf" srcId="{DBC583C6-FE30-44D4-97C2-9E5455C38373}" destId="{8FEE6A8A-EB54-4B86-89F5-DE1F0FDF5040}" srcOrd="0" destOrd="0" presId="urn:microsoft.com/office/officeart/2005/8/layout/chevron1"/>
    <dgm:cxn modelId="{130FD6B9-C3A9-419E-ACC7-01363995F0C6}" type="presParOf" srcId="{DBC583C6-FE30-44D4-97C2-9E5455C38373}" destId="{1539C8A9-21FC-467B-BBA1-74B31877602A}" srcOrd="1" destOrd="0" presId="urn:microsoft.com/office/officeart/2005/8/layout/chevron1"/>
    <dgm:cxn modelId="{BF75E1CD-32DC-4E92-91ED-436E3D11ECDC}" type="presParOf" srcId="{DBC583C6-FE30-44D4-97C2-9E5455C38373}" destId="{04D24E5C-769E-4CDA-936C-5B3B8C4E3B07}" srcOrd="2" destOrd="0" presId="urn:microsoft.com/office/officeart/2005/8/layout/chevron1"/>
    <dgm:cxn modelId="{54AB7C41-F4B2-4659-8D4F-1EE5D3E75140}" type="presParOf" srcId="{DBC583C6-FE30-44D4-97C2-9E5455C38373}" destId="{28E95D08-4654-4B3B-B7BB-FC658E298113}" srcOrd="3" destOrd="0" presId="urn:microsoft.com/office/officeart/2005/8/layout/chevron1"/>
    <dgm:cxn modelId="{65182F0A-1E73-4A67-936E-E5D4102AAAD4}" type="presParOf" srcId="{DBC583C6-FE30-44D4-97C2-9E5455C38373}" destId="{BEDC0078-49D9-41F5-8DAD-1A78833BAAD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DFA27B2-BBB3-4B33-9ACD-933479D4D4C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A58907CF-1CCB-4E69-A7B8-4FBB07A76378}">
      <dgm:prSet phldrT="[Text]"/>
      <dgm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r>
            <a:rPr lang="de-CH" dirty="0"/>
            <a:t>Primary</a:t>
          </a:r>
        </a:p>
      </dgm:t>
    </dgm:pt>
    <dgm:pt modelId="{CE5B1454-2A9D-406C-9D8F-27A51883FF01}" type="parTrans" cxnId="{FCCBA0A7-7205-4F7C-B957-08F04E71C9A9}">
      <dgm:prSet/>
      <dgm:spPr/>
      <dgm:t>
        <a:bodyPr/>
        <a:lstStyle/>
        <a:p>
          <a:endParaRPr lang="de-CH"/>
        </a:p>
      </dgm:t>
    </dgm:pt>
    <dgm:pt modelId="{0BF09C18-EEA3-47D3-BD20-D0ED6EC67C15}" type="sibTrans" cxnId="{FCCBA0A7-7205-4F7C-B957-08F04E71C9A9}">
      <dgm:prSet/>
      <dgm:spPr/>
      <dgm:t>
        <a:bodyPr/>
        <a:lstStyle/>
        <a:p>
          <a:endParaRPr lang="de-CH"/>
        </a:p>
      </dgm:t>
    </dgm:pt>
    <dgm:pt modelId="{F95E3049-CEA3-4730-B4EF-FC9A59DB5739}">
      <dgm:prSet phldrT="[Text]"/>
      <dgm:spPr/>
      <dgm:t>
        <a:bodyPr/>
        <a:lstStyle/>
        <a:p>
          <a:r>
            <a:rPr lang="de-CH" dirty="0" err="1"/>
            <a:t>Secondary</a:t>
          </a:r>
          <a:endParaRPr lang="de-CH" dirty="0"/>
        </a:p>
      </dgm:t>
    </dgm:pt>
    <dgm:pt modelId="{A4A1A96A-DDAF-41A0-9B6B-7F917D2DFD56}" type="parTrans" cxnId="{69536191-63CA-4772-83CE-ECB9E9EA874A}">
      <dgm:prSet/>
      <dgm:spPr/>
      <dgm:t>
        <a:bodyPr/>
        <a:lstStyle/>
        <a:p>
          <a:endParaRPr lang="de-CH"/>
        </a:p>
      </dgm:t>
    </dgm:pt>
    <dgm:pt modelId="{8709B4AA-E5C3-4324-8108-36D28377399E}" type="sibTrans" cxnId="{69536191-63CA-4772-83CE-ECB9E9EA874A}">
      <dgm:prSet/>
      <dgm:spPr/>
      <dgm:t>
        <a:bodyPr/>
        <a:lstStyle/>
        <a:p>
          <a:endParaRPr lang="de-CH"/>
        </a:p>
      </dgm:t>
    </dgm:pt>
    <dgm:pt modelId="{7E6D2C17-0705-4DFF-AFE4-38915EFC8B40}">
      <dgm:prSet phldrT="[Text]"/>
      <dgm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r>
            <a:rPr lang="de-CH" dirty="0" err="1"/>
            <a:t>Tertiary</a:t>
          </a:r>
          <a:endParaRPr lang="de-CH" dirty="0"/>
        </a:p>
      </dgm:t>
    </dgm:pt>
    <dgm:pt modelId="{783D4CD8-615C-438D-9BC9-19358E1CA1B6}" type="parTrans" cxnId="{8807CE13-2244-480D-A20A-7B6C1CC91494}">
      <dgm:prSet/>
      <dgm:spPr/>
      <dgm:t>
        <a:bodyPr/>
        <a:lstStyle/>
        <a:p>
          <a:endParaRPr lang="de-CH"/>
        </a:p>
      </dgm:t>
    </dgm:pt>
    <dgm:pt modelId="{5FAD2DC4-43EF-4982-95FF-CEF17B3F42FD}" type="sibTrans" cxnId="{8807CE13-2244-480D-A20A-7B6C1CC91494}">
      <dgm:prSet/>
      <dgm:spPr/>
      <dgm:t>
        <a:bodyPr/>
        <a:lstStyle/>
        <a:p>
          <a:endParaRPr lang="de-CH"/>
        </a:p>
      </dgm:t>
    </dgm:pt>
    <dgm:pt modelId="{DBC583C6-FE30-44D4-97C2-9E5455C38373}" type="pres">
      <dgm:prSet presAssocID="{9DFA27B2-BBB3-4B33-9ACD-933479D4D4CE}" presName="Name0" presStyleCnt="0">
        <dgm:presLayoutVars>
          <dgm:dir/>
          <dgm:animLvl val="lvl"/>
          <dgm:resizeHandles val="exact"/>
        </dgm:presLayoutVars>
      </dgm:prSet>
      <dgm:spPr/>
    </dgm:pt>
    <dgm:pt modelId="{8FEE6A8A-EB54-4B86-89F5-DE1F0FDF5040}" type="pres">
      <dgm:prSet presAssocID="{A58907CF-1CCB-4E69-A7B8-4FBB07A76378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1539C8A9-21FC-467B-BBA1-74B31877602A}" type="pres">
      <dgm:prSet presAssocID="{0BF09C18-EEA3-47D3-BD20-D0ED6EC67C15}" presName="parTxOnlySpace" presStyleCnt="0"/>
      <dgm:spPr/>
    </dgm:pt>
    <dgm:pt modelId="{04D24E5C-769E-4CDA-936C-5B3B8C4E3B07}" type="pres">
      <dgm:prSet presAssocID="{F95E3049-CEA3-4730-B4EF-FC9A59DB573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28E95D08-4654-4B3B-B7BB-FC658E298113}" type="pres">
      <dgm:prSet presAssocID="{8709B4AA-E5C3-4324-8108-36D28377399E}" presName="parTxOnlySpace" presStyleCnt="0"/>
      <dgm:spPr/>
    </dgm:pt>
    <dgm:pt modelId="{BEDC0078-49D9-41F5-8DAD-1A78833BAADA}" type="pres">
      <dgm:prSet presAssocID="{7E6D2C17-0705-4DFF-AFE4-38915EFC8B40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8807CE13-2244-480D-A20A-7B6C1CC91494}" srcId="{9DFA27B2-BBB3-4B33-9ACD-933479D4D4CE}" destId="{7E6D2C17-0705-4DFF-AFE4-38915EFC8B40}" srcOrd="2" destOrd="0" parTransId="{783D4CD8-615C-438D-9BC9-19358E1CA1B6}" sibTransId="{5FAD2DC4-43EF-4982-95FF-CEF17B3F42FD}"/>
    <dgm:cxn modelId="{B2B41251-72E4-4EE9-B05B-7BD899158D48}" type="presOf" srcId="{A58907CF-1CCB-4E69-A7B8-4FBB07A76378}" destId="{8FEE6A8A-EB54-4B86-89F5-DE1F0FDF5040}" srcOrd="0" destOrd="0" presId="urn:microsoft.com/office/officeart/2005/8/layout/chevron1"/>
    <dgm:cxn modelId="{AD402F7B-22CB-494E-8C9C-F39D21B22541}" type="presOf" srcId="{7E6D2C17-0705-4DFF-AFE4-38915EFC8B40}" destId="{BEDC0078-49D9-41F5-8DAD-1A78833BAADA}" srcOrd="0" destOrd="0" presId="urn:microsoft.com/office/officeart/2005/8/layout/chevron1"/>
    <dgm:cxn modelId="{69536191-63CA-4772-83CE-ECB9E9EA874A}" srcId="{9DFA27B2-BBB3-4B33-9ACD-933479D4D4CE}" destId="{F95E3049-CEA3-4730-B4EF-FC9A59DB5739}" srcOrd="1" destOrd="0" parTransId="{A4A1A96A-DDAF-41A0-9B6B-7F917D2DFD56}" sibTransId="{8709B4AA-E5C3-4324-8108-36D28377399E}"/>
    <dgm:cxn modelId="{FCCBA0A7-7205-4F7C-B957-08F04E71C9A9}" srcId="{9DFA27B2-BBB3-4B33-9ACD-933479D4D4CE}" destId="{A58907CF-1CCB-4E69-A7B8-4FBB07A76378}" srcOrd="0" destOrd="0" parTransId="{CE5B1454-2A9D-406C-9D8F-27A51883FF01}" sibTransId="{0BF09C18-EEA3-47D3-BD20-D0ED6EC67C15}"/>
    <dgm:cxn modelId="{35D87AC0-18DD-4610-98C9-77B8E0175889}" type="presOf" srcId="{F95E3049-CEA3-4730-B4EF-FC9A59DB5739}" destId="{04D24E5C-769E-4CDA-936C-5B3B8C4E3B07}" srcOrd="0" destOrd="0" presId="urn:microsoft.com/office/officeart/2005/8/layout/chevron1"/>
    <dgm:cxn modelId="{7B6DB5DC-359C-4A38-96FF-11E6329D89AB}" type="presOf" srcId="{9DFA27B2-BBB3-4B33-9ACD-933479D4D4CE}" destId="{DBC583C6-FE30-44D4-97C2-9E5455C38373}" srcOrd="0" destOrd="0" presId="urn:microsoft.com/office/officeart/2005/8/layout/chevron1"/>
    <dgm:cxn modelId="{40E844EE-F794-4C02-B00A-E2406A45A918}" type="presParOf" srcId="{DBC583C6-FE30-44D4-97C2-9E5455C38373}" destId="{8FEE6A8A-EB54-4B86-89F5-DE1F0FDF5040}" srcOrd="0" destOrd="0" presId="urn:microsoft.com/office/officeart/2005/8/layout/chevron1"/>
    <dgm:cxn modelId="{130FD6B9-C3A9-419E-ACC7-01363995F0C6}" type="presParOf" srcId="{DBC583C6-FE30-44D4-97C2-9E5455C38373}" destId="{1539C8A9-21FC-467B-BBA1-74B31877602A}" srcOrd="1" destOrd="0" presId="urn:microsoft.com/office/officeart/2005/8/layout/chevron1"/>
    <dgm:cxn modelId="{BF75E1CD-32DC-4E92-91ED-436E3D11ECDC}" type="presParOf" srcId="{DBC583C6-FE30-44D4-97C2-9E5455C38373}" destId="{04D24E5C-769E-4CDA-936C-5B3B8C4E3B07}" srcOrd="2" destOrd="0" presId="urn:microsoft.com/office/officeart/2005/8/layout/chevron1"/>
    <dgm:cxn modelId="{54AB7C41-F4B2-4659-8D4F-1EE5D3E75140}" type="presParOf" srcId="{DBC583C6-FE30-44D4-97C2-9E5455C38373}" destId="{28E95D08-4654-4B3B-B7BB-FC658E298113}" srcOrd="3" destOrd="0" presId="urn:microsoft.com/office/officeart/2005/8/layout/chevron1"/>
    <dgm:cxn modelId="{65182F0A-1E73-4A67-936E-E5D4102AAAD4}" type="presParOf" srcId="{DBC583C6-FE30-44D4-97C2-9E5455C38373}" destId="{BEDC0078-49D9-41F5-8DAD-1A78833BAAD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EE6A8A-EB54-4B86-89F5-DE1F0FDF5040}">
      <dsp:nvSpPr>
        <dsp:cNvPr id="0" name=""/>
        <dsp:cNvSpPr/>
      </dsp:nvSpPr>
      <dsp:spPr>
        <a:xfrm>
          <a:off x="3150" y="921718"/>
          <a:ext cx="3838365" cy="1535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/>
            <a:t>Primary</a:t>
          </a:r>
        </a:p>
      </dsp:txBody>
      <dsp:txXfrm>
        <a:off x="770823" y="921718"/>
        <a:ext cx="2303019" cy="1535346"/>
      </dsp:txXfrm>
    </dsp:sp>
    <dsp:sp modelId="{04D24E5C-769E-4CDA-936C-5B3B8C4E3B07}">
      <dsp:nvSpPr>
        <dsp:cNvPr id="0" name=""/>
        <dsp:cNvSpPr/>
      </dsp:nvSpPr>
      <dsp:spPr>
        <a:xfrm>
          <a:off x="3457679" y="921718"/>
          <a:ext cx="3838365" cy="1535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 err="1"/>
            <a:t>Secondary</a:t>
          </a:r>
          <a:endParaRPr lang="de-CH" sz="3900" kern="1200" dirty="0"/>
        </a:p>
      </dsp:txBody>
      <dsp:txXfrm>
        <a:off x="4225352" y="921718"/>
        <a:ext cx="2303019" cy="1535346"/>
      </dsp:txXfrm>
    </dsp:sp>
    <dsp:sp modelId="{BEDC0078-49D9-41F5-8DAD-1A78833BAADA}">
      <dsp:nvSpPr>
        <dsp:cNvPr id="0" name=""/>
        <dsp:cNvSpPr/>
      </dsp:nvSpPr>
      <dsp:spPr>
        <a:xfrm>
          <a:off x="6912208" y="921718"/>
          <a:ext cx="3838365" cy="1535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 err="1"/>
            <a:t>Tertiary</a:t>
          </a:r>
          <a:endParaRPr lang="de-CH" sz="3900" kern="1200" dirty="0"/>
        </a:p>
      </dsp:txBody>
      <dsp:txXfrm>
        <a:off x="7679881" y="921718"/>
        <a:ext cx="2303019" cy="15353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EE6A8A-EB54-4B86-89F5-DE1F0FDF5040}">
      <dsp:nvSpPr>
        <dsp:cNvPr id="0" name=""/>
        <dsp:cNvSpPr/>
      </dsp:nvSpPr>
      <dsp:spPr>
        <a:xfrm>
          <a:off x="3150" y="921718"/>
          <a:ext cx="3838365" cy="1535346"/>
        </a:xfrm>
        <a:prstGeom prst="chevron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1">
              <a:lumMod val="8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/>
            <a:t>Primary</a:t>
          </a:r>
        </a:p>
      </dsp:txBody>
      <dsp:txXfrm>
        <a:off x="770823" y="921718"/>
        <a:ext cx="2303019" cy="1535346"/>
      </dsp:txXfrm>
    </dsp:sp>
    <dsp:sp modelId="{04D24E5C-769E-4CDA-936C-5B3B8C4E3B07}">
      <dsp:nvSpPr>
        <dsp:cNvPr id="0" name=""/>
        <dsp:cNvSpPr/>
      </dsp:nvSpPr>
      <dsp:spPr>
        <a:xfrm>
          <a:off x="3457679" y="921718"/>
          <a:ext cx="3838365" cy="1535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 err="1"/>
            <a:t>Secondary</a:t>
          </a:r>
          <a:endParaRPr lang="de-CH" sz="3900" kern="1200" dirty="0"/>
        </a:p>
      </dsp:txBody>
      <dsp:txXfrm>
        <a:off x="4225352" y="921718"/>
        <a:ext cx="2303019" cy="1535346"/>
      </dsp:txXfrm>
    </dsp:sp>
    <dsp:sp modelId="{BEDC0078-49D9-41F5-8DAD-1A78833BAADA}">
      <dsp:nvSpPr>
        <dsp:cNvPr id="0" name=""/>
        <dsp:cNvSpPr/>
      </dsp:nvSpPr>
      <dsp:spPr>
        <a:xfrm>
          <a:off x="6912208" y="921718"/>
          <a:ext cx="3838365" cy="1535346"/>
        </a:xfrm>
        <a:prstGeom prst="chevron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1">
              <a:lumMod val="8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 err="1"/>
            <a:t>Tertiary</a:t>
          </a:r>
          <a:endParaRPr lang="de-CH" sz="3900" kern="1200" dirty="0"/>
        </a:p>
      </dsp:txBody>
      <dsp:txXfrm>
        <a:off x="7679881" y="921718"/>
        <a:ext cx="2303019" cy="15353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F03B01-D3E3-40FC-801B-34B9195D9CEA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3B1F4-F9E5-4ECF-9B2E-02E115121BE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3400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did</a:t>
            </a:r>
            <a:r>
              <a:rPr lang="de-CH" dirty="0"/>
              <a:t> </a:t>
            </a:r>
            <a:r>
              <a:rPr lang="de-CH" dirty="0" err="1"/>
              <a:t>this</a:t>
            </a:r>
            <a:r>
              <a:rPr lang="de-CH" dirty="0"/>
              <a:t>, but in </a:t>
            </a:r>
            <a:r>
              <a:rPr lang="de-CH" dirty="0" err="1"/>
              <a:t>the</a:t>
            </a:r>
            <a:r>
              <a:rPr lang="de-CH" dirty="0"/>
              <a:t> end,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found</a:t>
            </a:r>
            <a:r>
              <a:rPr lang="de-CH" dirty="0"/>
              <a:t> out, </a:t>
            </a:r>
            <a:r>
              <a:rPr lang="de-CH" dirty="0" err="1"/>
              <a:t>tha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relevant </a:t>
            </a:r>
            <a:r>
              <a:rPr lang="de-CH" dirty="0" err="1"/>
              <a:t>featrue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not </a:t>
            </a:r>
            <a:r>
              <a:rPr lang="de-CH" dirty="0" err="1"/>
              <a:t>better</a:t>
            </a:r>
            <a:r>
              <a:rPr lang="de-CH" dirty="0"/>
              <a:t> </a:t>
            </a:r>
            <a:r>
              <a:rPr lang="de-CH" dirty="0" err="1"/>
              <a:t>than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only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alendar</a:t>
            </a:r>
            <a:r>
              <a:rPr lang="de-CH" dirty="0"/>
              <a:t> </a:t>
            </a:r>
            <a:r>
              <a:rPr lang="de-CH" dirty="0" err="1"/>
              <a:t>features</a:t>
            </a:r>
            <a:r>
              <a:rPr lang="de-CH" dirty="0"/>
              <a:t>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53B1F4-F9E5-4ECF-9B2E-02E115121BEE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32285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Strong </a:t>
            </a:r>
            <a:r>
              <a:rPr lang="de-CH" dirty="0" err="1"/>
              <a:t>daily</a:t>
            </a:r>
            <a:r>
              <a:rPr lang="de-CH" dirty="0"/>
              <a:t> </a:t>
            </a:r>
            <a:r>
              <a:rPr lang="de-CH" dirty="0" err="1"/>
              <a:t>pattern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rnings</a:t>
            </a:r>
            <a:r>
              <a:rPr lang="de-CH" dirty="0"/>
              <a:t> and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venings</a:t>
            </a:r>
            <a:r>
              <a:rPr lang="de-CH" dirty="0"/>
              <a:t>. </a:t>
            </a:r>
            <a:r>
              <a:rPr lang="de-CH" dirty="0" err="1"/>
              <a:t>Weekdays</a:t>
            </a:r>
            <a:r>
              <a:rPr lang="de-CH" dirty="0"/>
              <a:t> </a:t>
            </a:r>
            <a:r>
              <a:rPr lang="de-CH" dirty="0" err="1"/>
              <a:t>differ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weekends</a:t>
            </a:r>
            <a:r>
              <a:rPr lang="de-CH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53B1F4-F9E5-4ECF-9B2E-02E115121BEE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29410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53B1F4-F9E5-4ECF-9B2E-02E115121BEE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59487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Ask Raf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53B1F4-F9E5-4ECF-9B2E-02E115121BEE}" type="slidenum">
              <a:rPr lang="de-CH" smtClean="0"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5546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xplored</a:t>
            </a:r>
            <a:r>
              <a:rPr lang="de-CH" dirty="0"/>
              <a:t> </a:t>
            </a:r>
            <a:r>
              <a:rPr lang="de-CH" dirty="0" err="1"/>
              <a:t>cross</a:t>
            </a:r>
            <a:r>
              <a:rPr lang="de-CH" dirty="0"/>
              <a:t> </a:t>
            </a:r>
            <a:r>
              <a:rPr lang="de-CH" dirty="0" err="1"/>
              <a:t>border</a:t>
            </a:r>
            <a:r>
              <a:rPr lang="de-CH" dirty="0"/>
              <a:t> </a:t>
            </a:r>
            <a:r>
              <a:rPr lang="de-CH" dirty="0" err="1"/>
              <a:t>flow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53B1F4-F9E5-4ECF-9B2E-02E115121BEE}" type="slidenum">
              <a:rPr lang="de-CH" smtClean="0"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4061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de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786475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355136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6107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380264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527474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89311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36232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53252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99520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61185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de-CH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78288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A68AE792-D59F-423A-A004-682FFB464391}" type="datetimeFigureOut">
              <a:rPr lang="de-CH" smtClean="0"/>
              <a:t>13.09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3CB363-4AA6-AF9F-D46C-98016369D4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57636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53" imgH="318" progId="TCLayout.ActiveDocument.1">
                  <p:embed/>
                </p:oleObj>
              </mc:Choice>
              <mc:Fallback>
                <p:oleObj name="think-cell Folie" r:id="rId14" imgW="353" imgH="31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AC107-D793-D28B-6C0E-2661B604C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9026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2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22.png"/><Relationship Id="rId4" Type="http://schemas.openxmlformats.org/officeDocument/2006/relationships/image" Target="../media/image17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17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12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4" Type="http://schemas.openxmlformats.org/officeDocument/2006/relationships/tags" Target="../tags/tag9.xml"/><Relationship Id="rId9" Type="http://schemas.openxmlformats.org/officeDocument/2006/relationships/image" Target="../media/image4.png"/><Relationship Id="rId1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6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7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1.emf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8.jp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140A1-47A2-A70F-0B6D-2FA11F81E1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353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F3867A0-0E85-94EE-E411-45D6986F7A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de-CH" dirty="0" err="1"/>
              <a:t>Predicting</a:t>
            </a:r>
            <a:r>
              <a:rPr lang="de-CH" dirty="0"/>
              <a:t> Control Energy </a:t>
            </a:r>
            <a:r>
              <a:rPr lang="de-CH" dirty="0" err="1"/>
              <a:t>Volumes</a:t>
            </a:r>
            <a:r>
              <a:rPr lang="de-CH" dirty="0"/>
              <a:t> for </a:t>
            </a:r>
            <a:r>
              <a:rPr lang="de-CH" dirty="0" err="1"/>
              <a:t>Grid</a:t>
            </a:r>
            <a:r>
              <a:rPr lang="de-CH" dirty="0"/>
              <a:t> </a:t>
            </a:r>
            <a:r>
              <a:rPr lang="de-CH" dirty="0" err="1"/>
              <a:t>Stability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2795808-0533-EF41-70E5-0A7C280B23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Team BKW – Ra</a:t>
            </a:r>
          </a:p>
        </p:txBody>
      </p:sp>
    </p:spTree>
    <p:extLst>
      <p:ext uri="{BB962C8B-B14F-4D97-AF65-F5344CB8AC3E}">
        <p14:creationId xmlns:p14="http://schemas.microsoft.com/office/powerpoint/2010/main" val="34837117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9382E23-DBE4-C08B-FABE-9F21BF9D77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6152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18" progId="TCLayout.ActiveDocument.1">
                  <p:embed/>
                </p:oleObj>
              </mc:Choice>
              <mc:Fallback>
                <p:oleObj name="think-cell Folie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E902800-AE8F-7492-F57E-2448FE75B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aily Trend </a:t>
            </a:r>
            <a:r>
              <a:rPr lang="de-CH" dirty="0" err="1"/>
              <a:t>short</a:t>
            </a:r>
            <a:r>
              <a:rPr lang="de-CH" dirty="0"/>
              <a:t> </a:t>
            </a:r>
            <a:r>
              <a:rPr lang="de-CH" dirty="0" err="1"/>
              <a:t>term</a:t>
            </a:r>
            <a:r>
              <a:rPr lang="de-CH" dirty="0"/>
              <a:t> pos. </a:t>
            </a:r>
            <a:r>
              <a:rPr lang="de-CH" dirty="0" err="1"/>
              <a:t>balance</a:t>
            </a:r>
            <a:endParaRPr lang="de-CH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CFA77BEC-B976-6EEE-3E6B-E815B0F1CB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9809" y="1916113"/>
            <a:ext cx="9156101" cy="4532312"/>
          </a:xfr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69850863-E98A-9932-AD91-DD0E7BE06E94}"/>
              </a:ext>
            </a:extLst>
          </p:cNvPr>
          <p:cNvSpPr txBox="1"/>
          <p:nvPr/>
        </p:nvSpPr>
        <p:spPr>
          <a:xfrm>
            <a:off x="883123" y="2238375"/>
            <a:ext cx="1085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Mon.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A58CA14-976D-13FC-D504-F98FF12544E7}"/>
              </a:ext>
            </a:extLst>
          </p:cNvPr>
          <p:cNvSpPr txBox="1"/>
          <p:nvPr/>
        </p:nvSpPr>
        <p:spPr>
          <a:xfrm>
            <a:off x="952627" y="5543550"/>
            <a:ext cx="1085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Sun.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65AC7E17-E862-C59A-97D4-5CD65C551BC0}"/>
              </a:ext>
            </a:extLst>
          </p:cNvPr>
          <p:cNvCxnSpPr/>
          <p:nvPr/>
        </p:nvCxnSpPr>
        <p:spPr>
          <a:xfrm>
            <a:off x="883123" y="4876800"/>
            <a:ext cx="9041927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86539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1AC2568-3D2C-8FFC-2287-C1AF1D9486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592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18" progId="TCLayout.ActiveDocument.1">
                  <p:embed/>
                </p:oleObj>
              </mc:Choice>
              <mc:Fallback>
                <p:oleObj name="think-cell Folie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173708-DD2C-3175-DCCB-CD751CAFA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Imported</a:t>
            </a:r>
            <a:r>
              <a:rPr lang="de-CH" dirty="0"/>
              <a:t> Energy lags </a:t>
            </a:r>
            <a:r>
              <a:rPr lang="de-CH" dirty="0" err="1"/>
              <a:t>aFFR</a:t>
            </a:r>
            <a:endParaRPr lang="de-CH" dirty="0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B3C5EF3D-1C01-2049-C5DC-A4409B8F05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67"/>
          <a:stretch/>
        </p:blipFill>
        <p:spPr>
          <a:xfrm>
            <a:off x="326134" y="1986941"/>
            <a:ext cx="11434953" cy="3778592"/>
          </a:xfrm>
        </p:spPr>
      </p:pic>
      <p:pic>
        <p:nvPicPr>
          <p:cNvPr id="13" name="Inhaltsplatzhalter 10">
            <a:extLst>
              <a:ext uri="{FF2B5EF4-FFF2-40B4-BE49-F238E27FC236}">
                <a16:creationId xmlns:a16="http://schemas.microsoft.com/office/drawing/2014/main" id="{6A1267B0-96E7-6CA9-FEAD-FECEF940F0F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29" b="-349"/>
          <a:stretch/>
        </p:blipFill>
        <p:spPr>
          <a:xfrm>
            <a:off x="326134" y="5692966"/>
            <a:ext cx="11433159" cy="550007"/>
          </a:xfrm>
          <a:prstGeom prst="rect">
            <a:avLst/>
          </a:prstGeom>
        </p:spPr>
      </p:pic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743D227-AC26-8D71-72D1-4CFD77989B35}"/>
              </a:ext>
            </a:extLst>
          </p:cNvPr>
          <p:cNvCxnSpPr/>
          <p:nvPr/>
        </p:nvCxnSpPr>
        <p:spPr>
          <a:xfrm>
            <a:off x="3876675" y="1762125"/>
            <a:ext cx="0" cy="4480848"/>
          </a:xfrm>
          <a:prstGeom prst="line">
            <a:avLst/>
          </a:prstGeom>
          <a:ln w="571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feil: nach rechts 15">
            <a:extLst>
              <a:ext uri="{FF2B5EF4-FFF2-40B4-BE49-F238E27FC236}">
                <a16:creationId xmlns:a16="http://schemas.microsoft.com/office/drawing/2014/main" id="{DB48C59E-F884-D390-9F6D-045D160DC7CE}"/>
              </a:ext>
            </a:extLst>
          </p:cNvPr>
          <p:cNvSpPr/>
          <p:nvPr/>
        </p:nvSpPr>
        <p:spPr>
          <a:xfrm>
            <a:off x="3870802" y="4235775"/>
            <a:ext cx="367824" cy="374325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0605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25781D4-B548-DF43-6BA4-82CF667893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090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18" progId="TCLayout.ActiveDocument.1">
                  <p:embed/>
                </p:oleObj>
              </mc:Choice>
              <mc:Fallback>
                <p:oleObj name="think-cell Folie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4DB2B60-883D-DB3C-B976-CC4919C44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Ramp-</a:t>
            </a:r>
            <a:r>
              <a:rPr lang="de-CH" dirty="0" err="1"/>
              <a:t>up</a:t>
            </a:r>
            <a:r>
              <a:rPr lang="de-CH" dirty="0"/>
              <a:t>, Ramp-down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7A82F82A-BDC0-F44A-E845-C5462FF8E3E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88" y="1703354"/>
            <a:ext cx="12254117" cy="4745571"/>
          </a:xfrm>
        </p:spPr>
      </p:pic>
    </p:spTree>
    <p:extLst>
      <p:ext uri="{BB962C8B-B14F-4D97-AF65-F5344CB8AC3E}">
        <p14:creationId xmlns:p14="http://schemas.microsoft.com/office/powerpoint/2010/main" val="13363156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3AF725D-DFD5-DD6D-0817-975A0EBE5A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987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671526-B9FF-D136-9779-C875F8FDE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Shorttime </a:t>
            </a:r>
            <a:r>
              <a:rPr lang="de-CH" dirty="0" err="1"/>
              <a:t>forecast</a:t>
            </a:r>
            <a:endParaRPr lang="de-CH" dirty="0"/>
          </a:p>
        </p:txBody>
      </p:sp>
      <p:pic>
        <p:nvPicPr>
          <p:cNvPr id="6" name="Google Shape;121;p23">
            <a:extLst>
              <a:ext uri="{FF2B5EF4-FFF2-40B4-BE49-F238E27FC236}">
                <a16:creationId xmlns:a16="http://schemas.microsoft.com/office/drawing/2014/main" id="{E9A4752F-74FC-94D8-D8FB-F44D3A712605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318285" y="1687327"/>
            <a:ext cx="8879401" cy="502779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78629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D7CFFD9-A2A6-242A-B878-0AE849B337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844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4901A10-4D1C-B32E-7AF0-84BA721B6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Questions!!!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234072-D94A-EDD7-7E0F-533C5FDFDF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 </a:t>
            </a:r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difficul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predict</a:t>
            </a:r>
            <a:r>
              <a:rPr lang="de-CH" dirty="0"/>
              <a:t> </a:t>
            </a:r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much</a:t>
            </a:r>
            <a:r>
              <a:rPr lang="de-CH" dirty="0"/>
              <a:t> </a:t>
            </a:r>
            <a:r>
              <a:rPr lang="de-CH" dirty="0" err="1"/>
              <a:t>energy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onsume</a:t>
            </a:r>
            <a:r>
              <a:rPr lang="de-CH" dirty="0"/>
              <a:t> i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rning</a:t>
            </a:r>
            <a:r>
              <a:rPr lang="de-CH" dirty="0"/>
              <a:t> and </a:t>
            </a:r>
            <a:r>
              <a:rPr lang="de-CH" dirty="0" err="1"/>
              <a:t>evening</a:t>
            </a:r>
            <a:r>
              <a:rPr lang="de-CH" dirty="0"/>
              <a:t>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30203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6A06F3-5A5C-9497-BED7-24B635B73B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3321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409A4DB-6A5A-D177-B3F4-90D91E93F5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Conclusions</a:t>
            </a:r>
            <a:r>
              <a:rPr lang="de-CH" dirty="0"/>
              <a:t> / </a:t>
            </a:r>
            <a:r>
              <a:rPr lang="de-CH" dirty="0" err="1"/>
              <a:t>wrap-up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3D08D1-1C74-0406-751E-E6C80FC91F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 Next  </a:t>
            </a:r>
            <a:r>
              <a:rPr lang="de-CH" dirty="0" err="1"/>
              <a:t>Step</a:t>
            </a:r>
            <a:r>
              <a:rPr lang="de-CH" dirty="0"/>
              <a:t>: </a:t>
            </a:r>
            <a:r>
              <a:rPr lang="de-CH" dirty="0" err="1"/>
              <a:t>forecast</a:t>
            </a:r>
            <a:r>
              <a:rPr lang="de-CH"/>
              <a:t> for </a:t>
            </a:r>
            <a:r>
              <a:rPr lang="de-CH" dirty="0" err="1"/>
              <a:t>the</a:t>
            </a:r>
            <a:r>
              <a:rPr lang="de-CH" dirty="0"/>
              <a:t> relevant </a:t>
            </a:r>
            <a:r>
              <a:rPr lang="de-CH" dirty="0" err="1"/>
              <a:t>feature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103555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1AC2568-3D2C-8FFC-2287-C1AF1D9486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09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18" progId="TCLayout.ActiveDocument.1">
                  <p:embed/>
                </p:oleObj>
              </mc:Choice>
              <mc:Fallback>
                <p:oleObj name="think-cell Folie" r:id="rId4" imgW="353" imgH="31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AC2568-3D2C-8FFC-2287-C1AF1D948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173708-DD2C-3175-DCCB-CD751CAFA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Flow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NetTransferCapacity</a:t>
            </a:r>
            <a:r>
              <a:rPr lang="de-CH" dirty="0"/>
              <a:t> (NTC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019FAB98-C0B9-E512-5686-31BF60F1BC2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77"/>
          <a:stretch/>
        </p:blipFill>
        <p:spPr>
          <a:xfrm>
            <a:off x="479235" y="1982803"/>
            <a:ext cx="11234710" cy="4117808"/>
          </a:xfrm>
        </p:spPr>
      </p:pic>
      <p:pic>
        <p:nvPicPr>
          <p:cNvPr id="8" name="Inhaltsplatzhalter 10">
            <a:extLst>
              <a:ext uri="{FF2B5EF4-FFF2-40B4-BE49-F238E27FC236}">
                <a16:creationId xmlns:a16="http://schemas.microsoft.com/office/drawing/2014/main" id="{A6140A5C-B2B1-5350-BAA5-008066175FA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120" t="3767" r="836" b="85885"/>
          <a:stretch/>
        </p:blipFill>
        <p:spPr>
          <a:xfrm>
            <a:off x="10443411" y="1896176"/>
            <a:ext cx="1491602" cy="822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6234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F277DEF-24A5-FF25-A8C8-0D29CFEFDC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62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8A522-3867-A27E-2C5B-82291CB6E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Challenge / Goa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3C2BB-C8B6-DC8F-ECB0-4AC4FB36F0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5171" y="2598821"/>
            <a:ext cx="9765210" cy="31790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sz="5400" dirty="0" err="1"/>
              <a:t>Develope</a:t>
            </a:r>
            <a:r>
              <a:rPr lang="de-CH" sz="5400" dirty="0"/>
              <a:t> a </a:t>
            </a:r>
            <a:r>
              <a:rPr lang="de-CH" sz="5400" dirty="0" err="1"/>
              <a:t>predictive</a:t>
            </a:r>
            <a:r>
              <a:rPr lang="de-CH" sz="5400" dirty="0"/>
              <a:t> </a:t>
            </a:r>
            <a:r>
              <a:rPr lang="de-CH" sz="5400" dirty="0" err="1"/>
              <a:t>model</a:t>
            </a:r>
            <a:r>
              <a:rPr lang="de-CH" sz="5400" dirty="0"/>
              <a:t> </a:t>
            </a:r>
            <a:r>
              <a:rPr lang="de-CH" sz="5400" dirty="0" err="1"/>
              <a:t>to</a:t>
            </a:r>
            <a:r>
              <a:rPr lang="de-CH" sz="5400" dirty="0"/>
              <a:t> </a:t>
            </a:r>
            <a:r>
              <a:rPr lang="de-CH" sz="5400" dirty="0" err="1"/>
              <a:t>forecast</a:t>
            </a:r>
            <a:r>
              <a:rPr lang="de-CH" sz="5400" dirty="0"/>
              <a:t> </a:t>
            </a:r>
            <a:r>
              <a:rPr lang="de-CH" sz="5400" b="1" dirty="0" err="1"/>
              <a:t>control</a:t>
            </a:r>
            <a:r>
              <a:rPr lang="de-CH" sz="5400" b="1" dirty="0"/>
              <a:t> </a:t>
            </a:r>
            <a:r>
              <a:rPr lang="de-CH" sz="5400" b="1" dirty="0" err="1"/>
              <a:t>energy</a:t>
            </a:r>
            <a:r>
              <a:rPr lang="de-CH" sz="5400" b="1" dirty="0"/>
              <a:t> </a:t>
            </a:r>
            <a:r>
              <a:rPr lang="de-CH" sz="5400" b="1" dirty="0" err="1"/>
              <a:t>activations</a:t>
            </a:r>
            <a:r>
              <a:rPr lang="de-CH" sz="5400" b="1" dirty="0"/>
              <a:t> </a:t>
            </a:r>
            <a:r>
              <a:rPr lang="de-CH" sz="5400" dirty="0"/>
              <a:t>for </a:t>
            </a:r>
            <a:r>
              <a:rPr lang="de-CH" sz="5400" dirty="0" err="1"/>
              <a:t>grid</a:t>
            </a:r>
            <a:r>
              <a:rPr lang="de-CH" sz="5400" dirty="0"/>
              <a:t> </a:t>
            </a:r>
            <a:r>
              <a:rPr lang="de-CH" sz="5400" dirty="0" err="1"/>
              <a:t>stability</a:t>
            </a:r>
            <a:r>
              <a:rPr lang="de-CH" sz="5400" dirty="0"/>
              <a:t>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782E718-D726-7036-E469-ACA8E8778935}"/>
              </a:ext>
            </a:extLst>
          </p:cNvPr>
          <p:cNvSpPr txBox="1"/>
          <p:nvPr/>
        </p:nvSpPr>
        <p:spPr>
          <a:xfrm>
            <a:off x="1665171" y="5408533"/>
            <a:ext cx="4726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 err="1"/>
              <a:t>Automatic</a:t>
            </a:r>
            <a:r>
              <a:rPr lang="de-CH" dirty="0"/>
              <a:t> </a:t>
            </a:r>
            <a:r>
              <a:rPr lang="de-CH" dirty="0" err="1"/>
              <a:t>Frequency</a:t>
            </a:r>
            <a:r>
              <a:rPr lang="de-CH" dirty="0"/>
              <a:t> Restoration Reserve (</a:t>
            </a:r>
            <a:r>
              <a:rPr lang="de-CH" dirty="0" err="1"/>
              <a:t>afrr</a:t>
            </a:r>
            <a:r>
              <a:rPr lang="de-CH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257732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B2AE6860-5AA9-5733-D033-662EE78B53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991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A897827-3337-0399-4026-C9B127602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Control Energy </a:t>
            </a:r>
            <a:r>
              <a:rPr lang="de-CH" dirty="0" err="1"/>
              <a:t>Activation</a:t>
            </a:r>
            <a:r>
              <a:rPr lang="de-CH" dirty="0"/>
              <a:t>?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DC68725-119C-0766-65CD-E6C857AD8C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034"/>
          <a:stretch/>
        </p:blipFill>
        <p:spPr bwMode="auto">
          <a:xfrm>
            <a:off x="2904988" y="1851068"/>
            <a:ext cx="6382023" cy="428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6841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B2AE6860-5AA9-5733-D033-662EE78B53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16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3" imgH="318" progId="TCLayout.ActiveDocument.1">
                  <p:embed/>
                </p:oleObj>
              </mc:Choice>
              <mc:Fallback>
                <p:oleObj name="think-cell Folie" r:id="rId6" imgW="353" imgH="318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AE6860-5AA9-5733-D033-662EE78B5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A897827-3337-0399-4026-C9B127602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Control Energy </a:t>
            </a:r>
            <a:r>
              <a:rPr lang="de-CH" dirty="0" err="1"/>
              <a:t>Activation</a:t>
            </a:r>
            <a:r>
              <a:rPr lang="de-CH" dirty="0"/>
              <a:t>?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93BE9EE-2359-3BE7-090B-525F7C4AE06A}"/>
              </a:ext>
            </a:extLst>
          </p:cNvPr>
          <p:cNvGrpSpPr/>
          <p:nvPr/>
        </p:nvGrpSpPr>
        <p:grpSpPr>
          <a:xfrm>
            <a:off x="3104895" y="1959671"/>
            <a:ext cx="5982210" cy="4181248"/>
            <a:chOff x="5552566" y="1892293"/>
            <a:chExt cx="6226758" cy="4296119"/>
          </a:xfrm>
        </p:grpSpPr>
        <p:sp>
          <p:nvSpPr>
            <p:cNvPr id="4" name="BG_Säule">
              <a:extLst>
                <a:ext uri="{FF2B5EF4-FFF2-40B4-BE49-F238E27FC236}">
                  <a16:creationId xmlns:a16="http://schemas.microsoft.com/office/drawing/2014/main" id="{D8915EE9-2270-4214-78CD-6EEE69FEB052}"/>
                </a:ext>
              </a:extLst>
            </p:cNvPr>
            <p:cNvSpPr/>
            <p:nvPr/>
          </p:nvSpPr>
          <p:spPr>
            <a:xfrm>
              <a:off x="8571566" y="2857567"/>
              <a:ext cx="176734" cy="31549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314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Waage">
              <a:extLst>
                <a:ext uri="{FF2B5EF4-FFF2-40B4-BE49-F238E27FC236}">
                  <a16:creationId xmlns:a16="http://schemas.microsoft.com/office/drawing/2014/main" id="{9B3CEF86-F02D-1F55-06ED-1141838091C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22880" y="2116783"/>
              <a:ext cx="4903554" cy="782354"/>
            </a:xfrm>
            <a:prstGeom prst="rect">
              <a:avLst/>
            </a:prstGeom>
          </p:spPr>
        </p:pic>
        <p:pic>
          <p:nvPicPr>
            <p:cNvPr id="6" name="Säule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435DBAA0-084A-E464-DBBC-C7983B2286D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15259" y="2344881"/>
              <a:ext cx="2708981" cy="3843531"/>
            </a:xfrm>
            <a:prstGeom prst="rect">
              <a:avLst/>
            </a:prstGeom>
          </p:spPr>
        </p:pic>
        <p:grpSp>
          <p:nvGrpSpPr>
            <p:cNvPr id="7" name="Erzeuger">
              <a:extLst>
                <a:ext uri="{FF2B5EF4-FFF2-40B4-BE49-F238E27FC236}">
                  <a16:creationId xmlns:a16="http://schemas.microsoft.com/office/drawing/2014/main" id="{48FAB9E2-3DD2-FF1C-0B68-FF6728C9676E}"/>
                </a:ext>
              </a:extLst>
            </p:cNvPr>
            <p:cNvGrpSpPr/>
            <p:nvPr/>
          </p:nvGrpSpPr>
          <p:grpSpPr>
            <a:xfrm>
              <a:off x="5552566" y="2643294"/>
              <a:ext cx="2056260" cy="2886177"/>
              <a:chOff x="1356524" y="2286946"/>
              <a:chExt cx="1675596" cy="2351876"/>
            </a:xfrm>
          </p:grpSpPr>
          <p:pic>
            <p:nvPicPr>
              <p:cNvPr id="8" name="Hänger_Erzeuger" descr="Shape, arrow&#10;&#10;Description automatically generated">
                <a:extLst>
                  <a:ext uri="{FF2B5EF4-FFF2-40B4-BE49-F238E27FC236}">
                    <a16:creationId xmlns:a16="http://schemas.microsoft.com/office/drawing/2014/main" id="{705D6BC1-0ACE-90AD-FDFF-25969219B1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56524" y="2443946"/>
                <a:ext cx="1675596" cy="2194876"/>
              </a:xfrm>
              <a:prstGeom prst="rect">
                <a:avLst/>
              </a:prstGeom>
            </p:spPr>
          </p:pic>
          <p:pic>
            <p:nvPicPr>
              <p:cNvPr id="9" name="Kreis_Erzeuger">
                <a:extLst>
                  <a:ext uri="{FF2B5EF4-FFF2-40B4-BE49-F238E27FC236}">
                    <a16:creationId xmlns:a16="http://schemas.microsoft.com/office/drawing/2014/main" id="{9B409A6D-9A6D-81BB-C376-5DEAD0BEF5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75394" y="2286946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10" name="Verbraucher">
              <a:extLst>
                <a:ext uri="{FF2B5EF4-FFF2-40B4-BE49-F238E27FC236}">
                  <a16:creationId xmlns:a16="http://schemas.microsoft.com/office/drawing/2014/main" id="{37584B0A-33F5-A8C3-4935-DFD94A24E2C2}"/>
                </a:ext>
              </a:extLst>
            </p:cNvPr>
            <p:cNvGrpSpPr/>
            <p:nvPr/>
          </p:nvGrpSpPr>
          <p:grpSpPr>
            <a:xfrm>
              <a:off x="9723064" y="2643294"/>
              <a:ext cx="2056260" cy="2886177"/>
              <a:chOff x="1356524" y="2286946"/>
              <a:chExt cx="1675596" cy="2351876"/>
            </a:xfrm>
          </p:grpSpPr>
          <p:pic>
            <p:nvPicPr>
              <p:cNvPr id="11" name="Hänger_Verbraucher" descr="Shape, arrow&#10;&#10;Description automatically generated">
                <a:extLst>
                  <a:ext uri="{FF2B5EF4-FFF2-40B4-BE49-F238E27FC236}">
                    <a16:creationId xmlns:a16="http://schemas.microsoft.com/office/drawing/2014/main" id="{BADE7BE7-EF11-54FD-E59D-2FE691E848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56524" y="2443946"/>
                <a:ext cx="1675596" cy="2194876"/>
              </a:xfrm>
              <a:prstGeom prst="rect">
                <a:avLst/>
              </a:prstGeom>
            </p:spPr>
          </p:pic>
          <p:pic>
            <p:nvPicPr>
              <p:cNvPr id="12" name="Kreis_Verbraucher">
                <a:extLst>
                  <a:ext uri="{FF2B5EF4-FFF2-40B4-BE49-F238E27FC236}">
                    <a16:creationId xmlns:a16="http://schemas.microsoft.com/office/drawing/2014/main" id="{F2435DF3-D42B-7FCC-0429-8249A4A1F7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59452" y="2286946"/>
                <a:ext cx="252000" cy="252000"/>
              </a:xfrm>
              <a:prstGeom prst="rect">
                <a:avLst/>
              </a:prstGeom>
            </p:spPr>
          </p:pic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6CC6485-831A-1353-7F13-4FEB74FFEF84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>
            <a:xfrm>
              <a:off x="8502005" y="1892293"/>
              <a:ext cx="653050" cy="89095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39168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27B7A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50,0 Hz</a:t>
              </a: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charset="0"/>
                <a:ea typeface="+mn-ea"/>
                <a:cs typeface="+mn-cs"/>
              </a:endParaRPr>
            </a:p>
          </p:txBody>
        </p:sp>
        <p:sp>
          <p:nvSpPr>
            <p:cNvPr id="14" name="Oval 2">
              <a:extLst>
                <a:ext uri="{FF2B5EF4-FFF2-40B4-BE49-F238E27FC236}">
                  <a16:creationId xmlns:a16="http://schemas.microsoft.com/office/drawing/2014/main" id="{2B14D511-B5EA-7895-922B-F8C2ABFF091C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6467145" y="5099715"/>
              <a:ext cx="244458" cy="24445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AC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ACA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pic>
          <p:nvPicPr>
            <p:cNvPr id="15" name="Picture 8">
              <a:extLst>
                <a:ext uri="{FF2B5EF4-FFF2-40B4-BE49-F238E27FC236}">
                  <a16:creationId xmlns:a16="http://schemas.microsoft.com/office/drawing/2014/main" id="{781B0ED2-6A53-146A-9E61-07A9965A9E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alphaModFix amt="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7752" y="3463575"/>
              <a:ext cx="2046906" cy="1488227"/>
            </a:xfrm>
            <a:prstGeom prst="rect">
              <a:avLst/>
            </a:prstGeom>
          </p:spPr>
        </p:pic>
        <p:pic>
          <p:nvPicPr>
            <p:cNvPr id="16" name="Picture 28">
              <a:extLst>
                <a:ext uri="{FF2B5EF4-FFF2-40B4-BE49-F238E27FC236}">
                  <a16:creationId xmlns:a16="http://schemas.microsoft.com/office/drawing/2014/main" id="{95660997-EFD8-9109-2028-903522D9C9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3064" y="3463575"/>
              <a:ext cx="2046906" cy="1488227"/>
            </a:xfrm>
            <a:prstGeom prst="rect">
              <a:avLst/>
            </a:prstGeom>
          </p:spPr>
        </p:pic>
        <p:pic>
          <p:nvPicPr>
            <p:cNvPr id="17" name="Picture 29">
              <a:extLst>
                <a:ext uri="{FF2B5EF4-FFF2-40B4-BE49-F238E27FC236}">
                  <a16:creationId xmlns:a16="http://schemas.microsoft.com/office/drawing/2014/main" id="{98C403D6-C463-4D96-E3E6-F0AA534FC9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alphaModFix amt="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53364" y="3861461"/>
              <a:ext cx="2039397" cy="1139314"/>
            </a:xfrm>
            <a:prstGeom prst="rect">
              <a:avLst/>
            </a:prstGeom>
          </p:spPr>
        </p:pic>
        <p:sp>
          <p:nvSpPr>
            <p:cNvPr id="18" name="Oval 31">
              <a:extLst>
                <a:ext uri="{FF2B5EF4-FFF2-40B4-BE49-F238E27FC236}">
                  <a16:creationId xmlns:a16="http://schemas.microsoft.com/office/drawing/2014/main" id="{AEED5AB5-31B5-7129-D9FD-C056CA65F7D2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10631064" y="5099715"/>
              <a:ext cx="244458" cy="24445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AC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ACA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pic>
          <p:nvPicPr>
            <p:cNvPr id="19" name="Picture 4">
              <a:extLst>
                <a:ext uri="{FF2B5EF4-FFF2-40B4-BE49-F238E27FC236}">
                  <a16:creationId xmlns:a16="http://schemas.microsoft.com/office/drawing/2014/main" id="{ED5B5C62-CD3E-644D-84CA-ECD2C0ECC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57254" y="3855951"/>
              <a:ext cx="2035507" cy="11448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68182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32DF84-964D-8EE2-EF3F-6EF240CD3D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605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BED388-30D9-0AE4-894B-42CBFC893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Control Energy </a:t>
            </a:r>
            <a:r>
              <a:rPr lang="de-CH" dirty="0" err="1"/>
              <a:t>Activations</a:t>
            </a:r>
            <a:r>
              <a:rPr lang="de-CH" dirty="0"/>
              <a:t>?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53BECDAD-63FF-BA86-6FFE-E4FF1A55F2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3421313"/>
              </p:ext>
            </p:extLst>
          </p:nvPr>
        </p:nvGraphicFramePr>
        <p:xfrm>
          <a:off x="676275" y="2011363"/>
          <a:ext cx="10753725" cy="3378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5941920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32DF84-964D-8EE2-EF3F-6EF240CD3D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32DF84-964D-8EE2-EF3F-6EF240CD3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BED388-30D9-0AE4-894B-42CBFC893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Control Energy </a:t>
            </a:r>
            <a:r>
              <a:rPr lang="de-CH" dirty="0" err="1"/>
              <a:t>Activations</a:t>
            </a:r>
            <a:r>
              <a:rPr lang="de-CH" dirty="0"/>
              <a:t>?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53BECDAD-63FF-BA86-6FFE-E4FF1A55F2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0089216"/>
              </p:ext>
            </p:extLst>
          </p:nvPr>
        </p:nvGraphicFramePr>
        <p:xfrm>
          <a:off x="676275" y="2011363"/>
          <a:ext cx="10753725" cy="3378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5070524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872DCB8-C5F6-F0B2-3793-917CFE9684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545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16C4E04-D490-6CC2-ECF3-1EFA4CD93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Data </a:t>
            </a:r>
            <a:r>
              <a:rPr lang="de-CH" dirty="0" err="1"/>
              <a:t>about</a:t>
            </a:r>
            <a:r>
              <a:rPr lang="de-CH" dirty="0"/>
              <a:t>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B770B2-7393-25D1-A30A-722C37C488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Fields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 </a:t>
            </a:r>
            <a:r>
              <a:rPr lang="de-CH" dirty="0" err="1"/>
              <a:t>TimeStamps</a:t>
            </a:r>
            <a:endParaRPr lang="de-CH" dirty="0"/>
          </a:p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 </a:t>
            </a:r>
            <a:r>
              <a:rPr lang="de-CH" dirty="0" err="1"/>
              <a:t>ActivatedBalancingVolume_CH_aFRR</a:t>
            </a:r>
            <a:r>
              <a:rPr lang="de-CH" dirty="0"/>
              <a:t> </a:t>
            </a:r>
            <a:r>
              <a:rPr lang="de-CH" b="1" dirty="0"/>
              <a:t>Positive</a:t>
            </a:r>
            <a:r>
              <a:rPr lang="de-CH" dirty="0"/>
              <a:t> and </a:t>
            </a:r>
            <a:r>
              <a:rPr lang="de-CH" b="1" dirty="0"/>
              <a:t>Negativ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 Generation (</a:t>
            </a:r>
            <a:r>
              <a:rPr lang="de-CH" dirty="0" err="1"/>
              <a:t>HydroLake</a:t>
            </a:r>
            <a:r>
              <a:rPr lang="de-CH" dirty="0"/>
              <a:t>, </a:t>
            </a:r>
            <a:r>
              <a:rPr lang="de-CH" dirty="0" err="1"/>
              <a:t>HydroPumpedStorage</a:t>
            </a:r>
            <a:r>
              <a:rPr lang="de-CH" dirty="0"/>
              <a:t>, </a:t>
            </a:r>
            <a:r>
              <a:rPr lang="de-CH" dirty="0" err="1"/>
              <a:t>HydroRunOfRiver</a:t>
            </a:r>
            <a:r>
              <a:rPr lang="de-CH" dirty="0"/>
              <a:t>, Solar, </a:t>
            </a:r>
            <a:r>
              <a:rPr lang="de-CH" dirty="0" err="1"/>
              <a:t>Nuclear</a:t>
            </a:r>
            <a:r>
              <a:rPr lang="de-CH" dirty="0"/>
              <a:t>, </a:t>
            </a:r>
            <a:r>
              <a:rPr lang="de-CH" dirty="0" err="1"/>
              <a:t>WindOnShore</a:t>
            </a:r>
            <a:r>
              <a:rPr lang="de-CH" dirty="0"/>
              <a:t>, Lignite, </a:t>
            </a:r>
            <a:r>
              <a:rPr lang="de-CH" dirty="0" err="1"/>
              <a:t>HardCoal</a:t>
            </a:r>
            <a:r>
              <a:rPr lang="de-CH" dirty="0"/>
              <a:t>, Gas) for CH, DE, FR, IT, AT </a:t>
            </a:r>
            <a:r>
              <a:rPr lang="de-CH" b="1" dirty="0" err="1"/>
              <a:t>where</a:t>
            </a:r>
            <a:r>
              <a:rPr lang="de-CH" b="1" dirty="0"/>
              <a:t> </a:t>
            </a:r>
            <a:r>
              <a:rPr lang="de-CH" b="1" dirty="0" err="1"/>
              <a:t>available</a:t>
            </a:r>
            <a:endParaRPr lang="de-CH" b="1" dirty="0"/>
          </a:p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 </a:t>
            </a:r>
            <a:r>
              <a:rPr lang="de-CH" dirty="0" err="1"/>
              <a:t>Consumption</a:t>
            </a:r>
            <a:r>
              <a:rPr lang="de-CH" dirty="0"/>
              <a:t> for CH, DE, FR, IT, A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 </a:t>
            </a:r>
            <a:r>
              <a:rPr lang="de-CH" dirty="0" err="1"/>
              <a:t>Boarder</a:t>
            </a:r>
            <a:r>
              <a:rPr lang="de-CH" dirty="0"/>
              <a:t> </a:t>
            </a:r>
            <a:r>
              <a:rPr lang="de-CH" dirty="0" err="1"/>
              <a:t>Flows</a:t>
            </a:r>
            <a:r>
              <a:rPr lang="de-CH" dirty="0"/>
              <a:t> CH-DE, CH-FR, CH-IT, CH-A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 </a:t>
            </a:r>
            <a:r>
              <a:rPr lang="de-CH" dirty="0" err="1"/>
              <a:t>NetTransferCapacity</a:t>
            </a:r>
            <a:r>
              <a:rPr lang="de-CH" dirty="0"/>
              <a:t> (NTC)</a:t>
            </a:r>
          </a:p>
        </p:txBody>
      </p:sp>
    </p:spTree>
    <p:extLst>
      <p:ext uri="{BB962C8B-B14F-4D97-AF65-F5344CB8AC3E}">
        <p14:creationId xmlns:p14="http://schemas.microsoft.com/office/powerpoint/2010/main" val="6239376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FE0F34B-5E1A-EEF0-F362-2C96C86FCA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8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6E54803-5575-A63D-25C2-BED51CBA2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did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explore</a:t>
            </a:r>
            <a:r>
              <a:rPr lang="de-CH" dirty="0"/>
              <a:t>?</a:t>
            </a:r>
          </a:p>
        </p:txBody>
      </p:sp>
      <p:pic>
        <p:nvPicPr>
          <p:cNvPr id="10" name="Inhaltsplatzhalter 9" descr="Uhr mit einfarbiger Füllung">
            <a:extLst>
              <a:ext uri="{FF2B5EF4-FFF2-40B4-BE49-F238E27FC236}">
                <a16:creationId xmlns:a16="http://schemas.microsoft.com/office/drawing/2014/main" id="{00ED690C-BB28-5ED6-4F01-F5D43CB107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16868" y="2855118"/>
            <a:ext cx="1490663" cy="1490663"/>
          </a:xfrm>
        </p:spPr>
      </p:pic>
      <p:pic>
        <p:nvPicPr>
          <p:cNvPr id="12" name="Grafik 11" descr="Teils sonnig Silhouette">
            <a:extLst>
              <a:ext uri="{FF2B5EF4-FFF2-40B4-BE49-F238E27FC236}">
                <a16:creationId xmlns:a16="http://schemas.microsoft.com/office/drawing/2014/main" id="{C03F3F26-6449-745F-A312-F3B8083EF5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19675" y="2762249"/>
            <a:ext cx="1676400" cy="1676400"/>
          </a:xfrm>
          <a:prstGeom prst="rect">
            <a:avLst/>
          </a:prstGeom>
        </p:spPr>
      </p:pic>
      <p:pic>
        <p:nvPicPr>
          <p:cNvPr id="14" name="Grafik 13" descr="Europa mit einfarbiger Füllung">
            <a:extLst>
              <a:ext uri="{FF2B5EF4-FFF2-40B4-BE49-F238E27FC236}">
                <a16:creationId xmlns:a16="http://schemas.microsoft.com/office/drawing/2014/main" id="{89937344-583A-146C-B492-3A8942393F3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96275" y="1990725"/>
            <a:ext cx="2876550" cy="287655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323A807-7307-F326-69C7-0874927646D9}"/>
              </a:ext>
            </a:extLst>
          </p:cNvPr>
          <p:cNvSpPr txBox="1"/>
          <p:nvPr/>
        </p:nvSpPr>
        <p:spPr>
          <a:xfrm>
            <a:off x="1114425" y="5362575"/>
            <a:ext cx="2495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dirty="0"/>
              <a:t>Time / </a:t>
            </a:r>
            <a:r>
              <a:rPr lang="de-CH" dirty="0" err="1"/>
              <a:t>Calendar</a:t>
            </a:r>
            <a:r>
              <a:rPr lang="de-CH" dirty="0"/>
              <a:t> </a:t>
            </a:r>
            <a:r>
              <a:rPr lang="de-CH" dirty="0" err="1"/>
              <a:t>features</a:t>
            </a:r>
            <a:endParaRPr lang="de-CH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7FE1ED9-5A88-4A9A-11E7-834FC080C241}"/>
              </a:ext>
            </a:extLst>
          </p:cNvPr>
          <p:cNvSpPr txBox="1"/>
          <p:nvPr/>
        </p:nvSpPr>
        <p:spPr>
          <a:xfrm>
            <a:off x="4505325" y="5362575"/>
            <a:ext cx="2495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dirty="0" err="1"/>
              <a:t>Weather</a:t>
            </a:r>
            <a:endParaRPr lang="de-CH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B84CC7C-F7D2-FA0A-DB08-67EFB7A5D780}"/>
              </a:ext>
            </a:extLst>
          </p:cNvPr>
          <p:cNvSpPr txBox="1"/>
          <p:nvPr/>
        </p:nvSpPr>
        <p:spPr>
          <a:xfrm>
            <a:off x="8677275" y="5362575"/>
            <a:ext cx="2495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dirty="0"/>
              <a:t>Cross-</a:t>
            </a:r>
            <a:r>
              <a:rPr lang="de-CH" dirty="0" err="1"/>
              <a:t>border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12664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496766E-DECC-3602-8DF5-D8A2461F65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984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A1FA5B-A340-A530-2F57-98E0BD7C7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Relevant Features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7A5A895-612A-DD6F-6438-1F031284F0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21"/>
          <a:stretch/>
        </p:blipFill>
        <p:spPr>
          <a:xfrm>
            <a:off x="429606" y="1541713"/>
            <a:ext cx="11228010" cy="5095737"/>
          </a:xfrm>
        </p:spPr>
      </p:pic>
    </p:spTree>
    <p:extLst>
      <p:ext uri="{BB962C8B-B14F-4D97-AF65-F5344CB8AC3E}">
        <p14:creationId xmlns:p14="http://schemas.microsoft.com/office/powerpoint/2010/main" val="3515130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50,0 Hz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2"/>
</p:tagLst>
</file>

<file path=ppt/theme/theme1.xml><?xml version="1.0" encoding="utf-8"?>
<a:theme xmlns:a="http://schemas.openxmlformats.org/drawingml/2006/main" name="Metropolitan">
  <a:themeElements>
    <a:clrScheme name="Metropolitan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0CE7BE8-29EB-492E-9811-F4D5DC3EA928}">
  <we:reference id="22ff87a5-132f-4d52-9e97-94d888e4dd91" version="3.7.0.0" store="EXCatalog" storeType="EXCatalog"/>
  <we:alternateReferences>
    <we:reference id="WA104380050" version="3.7.0.0" store="de-CH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TM03457491[[fn=Metropolitan]]</Template>
  <TotalTime>0</TotalTime>
  <Words>271</Words>
  <Application>Microsoft Office PowerPoint</Application>
  <PresentationFormat>Breitbild</PresentationFormat>
  <Paragraphs>52</Paragraphs>
  <Slides>16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2" baseType="lpstr">
      <vt:lpstr>Arial</vt:lpstr>
      <vt:lpstr>Calibri</vt:lpstr>
      <vt:lpstr>Calibri Light</vt:lpstr>
      <vt:lpstr>Times New Roman</vt:lpstr>
      <vt:lpstr>Metropolitan</vt:lpstr>
      <vt:lpstr>think-cell Folie</vt:lpstr>
      <vt:lpstr>Predicting Control Energy Volumes for Grid Stability</vt:lpstr>
      <vt:lpstr>Challenge / Goal</vt:lpstr>
      <vt:lpstr>Control Energy Activation?</vt:lpstr>
      <vt:lpstr>Control Energy Activation?</vt:lpstr>
      <vt:lpstr>Control Energy Activations?</vt:lpstr>
      <vt:lpstr>Control Energy Activations?</vt:lpstr>
      <vt:lpstr>What is the Data about?</vt:lpstr>
      <vt:lpstr>What did we explore?</vt:lpstr>
      <vt:lpstr>Relevant Features</vt:lpstr>
      <vt:lpstr>Daily Trend short term pos. balance</vt:lpstr>
      <vt:lpstr>Imported Energy lags aFFR</vt:lpstr>
      <vt:lpstr>Ramp-up, Ramp-down</vt:lpstr>
      <vt:lpstr>Shorttime forecast</vt:lpstr>
      <vt:lpstr>Questions!!!</vt:lpstr>
      <vt:lpstr>Conclusions / wrap-up</vt:lpstr>
      <vt:lpstr>Flow over NetTransferCapacity (NTC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ng Control Energy Volumes for Grid Stability</dc:title>
  <dc:creator>Steiner Remo</dc:creator>
  <cp:lastModifiedBy>Steiner Remo</cp:lastModifiedBy>
  <cp:revision>34</cp:revision>
  <dcterms:created xsi:type="dcterms:W3CDTF">2024-09-12T15:47:29Z</dcterms:created>
  <dcterms:modified xsi:type="dcterms:W3CDTF">2024-09-13T11:14:57Z</dcterms:modified>
</cp:coreProperties>
</file>